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215.xml" ContentType="application/vnd.openxmlformats-officedocument.presentationml.slide+xml"/>
  <Override PartName="/ppt/tags/tag1414.xml" ContentType="application/vnd.openxmlformats-officedocument.presentationml.tags+xml"/>
  <Override PartName="/ppt/tags/tag1419.xml" ContentType="application/vnd.openxmlformats-officedocument.presentationml.tags+xml"/>
  <Override PartName="/ppt/tags/tag1427.xml" ContentType="application/vnd.openxmlformats-officedocument.presentationml.tags+xml"/>
  <Override PartName="/ppt/tags/tag1404.xml" ContentType="application/vnd.openxmlformats-officedocument.presentationml.tags+xml"/>
  <Override PartName="/ppt/tags/tag1422.xml" ContentType="application/vnd.openxmlformats-officedocument.presentationml.tags+xml"/>
  <Override PartName="/ppt/tags/tag1408.xml" ContentType="application/vnd.openxmlformats-officedocument.presentationml.tags+xml"/>
  <Override PartName="/ppt/tags/tag1413.xml" ContentType="application/vnd.openxmlformats-officedocument.presentationml.tags+xml"/>
  <Override PartName="/ppt/tags/tag1418.xml" ContentType="application/vnd.openxmlformats-officedocument.presentationml.tags+xml"/>
  <Override PartName="/ppt/tags/tag1426.xml" ContentType="application/vnd.openxmlformats-officedocument.presentationml.tags+xml"/>
  <Override PartName="/ppt/notesSlides/notesSlide21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403.xml" ContentType="application/vnd.openxmlformats-officedocument.presentationml.tags+xml"/>
  <Override PartName="/ppt/tags/tag1417.xml" ContentType="application/vnd.openxmlformats-officedocument.presentationml.tags+xml"/>
  <Override PartName="/ppt/tags/tag1421.xml" ContentType="application/vnd.openxmlformats-officedocument.presentationml.tags+xml"/>
  <Override PartName="/ppt/tags/tag1430.xml" ContentType="application/vnd.openxmlformats-officedocument.presentationml.tags+xml"/>
  <Override PartName="/ppt/tags/tag1407.xml" ContentType="application/vnd.openxmlformats-officedocument.presentationml.tags+xml"/>
  <Override PartName="/ppt/tags/tag1412.xml" ContentType="application/vnd.openxmlformats-officedocument.presentationml.tags+xml"/>
  <Override PartName="/ppt/tags/tag1425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406.xml" ContentType="application/vnd.openxmlformats-officedocument.presentationml.tags+xml"/>
  <Override PartName="/ppt/tags/tag1416.xml" ContentType="application/vnd.openxmlformats-officedocument.presentationml.tags+xml"/>
  <Override PartName="/ppt/tags/tag1424.xml" ContentType="application/vnd.openxmlformats-officedocument.presentationml.tags+xml"/>
  <Override PartName="/ppt/tags/tag1429.xml" ContentType="application/vnd.openxmlformats-officedocument.presentationml.tags+xml"/>
  <Override PartName="/ppt/charts/chart52.xml" ContentType="application/vnd.openxmlformats-officedocument.drawingml.chart+xml"/>
  <Override PartName="/ppt/tags/tag1411.xml" ContentType="application/vnd.openxmlformats-officedocument.presentationml.tags+xml"/>
  <Override PartName="/ppt/tags/tag1420.xml" ContentType="application/vnd.openxmlformats-officedocument.presentationml.tags+xml"/>
  <Override PartName="/ppt/tags/tag1432.xml" ContentType="application/vnd.openxmlformats-officedocument.presentationml.tags+xml"/>
  <Override PartName="/ppt/tags/tag1405.xml" ContentType="application/vnd.openxmlformats-officedocument.presentationml.tags+xml"/>
  <Override PartName="/ppt/tags/tag1410.xml" ContentType="application/vnd.openxmlformats-officedocument.presentationml.tags+xml"/>
  <Override PartName="/ppt/tags/tag1415.xml" ContentType="application/vnd.openxmlformats-officedocument.presentationml.tags+xml"/>
  <Override PartName="/ppt/tags/tag1423.xml" ContentType="application/vnd.openxmlformats-officedocument.presentationml.tags+xml"/>
  <Override PartName="/ppt/tags/tag1428.xml" ContentType="application/vnd.openxmlformats-officedocument.presentationml.tags+xml"/>
  <Override PartName="/ppt/tags/tag1431.xml" ContentType="application/vnd.openxmlformats-officedocument.presentationml.tags+xml"/>
  <Override PartName="/ppt/tags/tag1409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28" r:id="rId21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215.xml" Id="rId218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52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51.xlsb" Id="rId1" /></Relationships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030971574034791E-2"/>
          <c:y val="2.0643112346169116E-2"/>
          <c:w val="0.97793805685193047"/>
          <c:h val="0.95871377530766178"/>
        </c:manualLayout>
      </c:layout>
      <c:lineChart>
        <c:grouping val="standard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3BC6-4016-9B68-69D618D53944}"/>
              </c:ext>
            </c:extLst>
          </c:dPt>
          <c:dPt>
            <c:idx val="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3BC6-4016-9B68-69D618D53944}"/>
              </c:ext>
            </c:extLst>
          </c:dPt>
          <c:dPt>
            <c:idx val="2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3BC6-4016-9B68-69D618D53944}"/>
              </c:ext>
            </c:extLst>
          </c:dPt>
          <c:dPt>
            <c:idx val="3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3BC6-4016-9B68-69D618D53944}"/>
              </c:ext>
            </c:extLst>
          </c:dPt>
          <c:dPt>
            <c:idx val="4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3BC6-4016-9B68-69D618D53944}"/>
              </c:ext>
            </c:extLst>
          </c:dPt>
          <c:dPt>
            <c:idx val="5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3BC6-4016-9B68-69D618D53944}"/>
              </c:ext>
            </c:extLst>
          </c:dPt>
          <c:dPt>
            <c:idx val="6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3BC6-4016-9B68-69D618D53944}"/>
              </c:ext>
            </c:extLst>
          </c:dPt>
          <c:dPt>
            <c:idx val="7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3BC6-4016-9B68-69D618D53944}"/>
              </c:ext>
            </c:extLst>
          </c:dPt>
          <c:dPt>
            <c:idx val="8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3BC6-4016-9B68-69D618D53944}"/>
              </c:ext>
            </c:extLst>
          </c:dPt>
          <c:dPt>
            <c:idx val="9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3BC6-4016-9B68-69D618D53944}"/>
              </c:ext>
            </c:extLst>
          </c:dPt>
          <c:dPt>
            <c:idx val="1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3BC6-4016-9B68-69D618D53944}"/>
              </c:ext>
            </c:extLst>
          </c:dPt>
          <c:dPt>
            <c:idx val="1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3BC6-4016-9B68-69D618D53944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52.605015002143148</c:v>
                </c:pt>
                <c:pt idx="1">
                  <c:v>37.605015002143148</c:v>
                </c:pt>
                <c:pt idx="2">
                  <c:v>75.605015002143148</c:v>
                </c:pt>
                <c:pt idx="3">
                  <c:v>121.20501500214311</c:v>
                </c:pt>
                <c:pt idx="4">
                  <c:v>175.92501500214308</c:v>
                </c:pt>
                <c:pt idx="5">
                  <c:v>227.60501500214315</c:v>
                </c:pt>
                <c:pt idx="6">
                  <c:v>222.60501500214315</c:v>
                </c:pt>
                <c:pt idx="7">
                  <c:v>207.60501500214315</c:v>
                </c:pt>
                <c:pt idx="8">
                  <c:v>247.60501500214315</c:v>
                </c:pt>
                <c:pt idx="9">
                  <c:v>222.60501500214315</c:v>
                </c:pt>
                <c:pt idx="10">
                  <c:v>257.60501500214315</c:v>
                </c:pt>
                <c:pt idx="11">
                  <c:v>267.60501500214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3BC6-4016-9B68-69D618D53944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errBars>
            <c:errDir val="y"/>
            <c:errBarType val="plus"/>
            <c:errValType val="cust"/>
            <c:noEndCap val="1"/>
            <c:plus>
              <c:numRef>
                <c:f>Sheet1!$A$2:$L$2</c:f>
                <c:numCache>
                  <c:formatCode>General</c:formatCode>
                  <c:ptCount val="12"/>
                  <c:pt idx="0">
                    <c:v>-21</c:v>
                  </c:pt>
                  <c:pt idx="1">
                    <c:v>-15</c:v>
                  </c:pt>
                  <c:pt idx="2">
                    <c:v>-18</c:v>
                  </c:pt>
                  <c:pt idx="3">
                    <c:v>-21.600000000000023</c:v>
                  </c:pt>
                  <c:pt idx="4">
                    <c:v>-25.920000000000016</c:v>
                  </c:pt>
                  <c:pt idx="5">
                    <c:v>-32</c:v>
                  </c:pt>
                  <c:pt idx="6">
                    <c:v>-32</c:v>
                  </c:pt>
                  <c:pt idx="7">
                    <c:v>-25</c:v>
                  </c:pt>
                  <c:pt idx="8">
                    <c:v>-40</c:v>
                  </c:pt>
                  <c:pt idx="9">
                    <c:v>-26</c:v>
                  </c:pt>
                  <c:pt idx="10">
                    <c:v>-40</c:v>
                  </c:pt>
                  <c:pt idx="11">
                    <c:v>-45.899999999999977</c:v>
                  </c:pt>
                </c:numCache>
              </c:numRef>
            </c:plus>
            <c:spPr>
              <a:ln w="152400" cmpd="sng" algn="ctr">
                <a:solidFill>
                  <a:schemeClr val="accent1"/>
                </a:solidFill>
                <a:prstDash val="lgDash"/>
              </a:ln>
            </c:spPr>
          </c:errBars>
          <c:val>
            <c:numRef>
              <c:f>Sheet1!$A$3:$L$3</c:f>
              <c:numCache>
                <c:formatCode>General</c:formatCode>
                <c:ptCount val="12"/>
                <c:pt idx="0">
                  <c:v>37.605015002143148</c:v>
                </c:pt>
                <c:pt idx="1">
                  <c:v>30.105015002143148</c:v>
                </c:pt>
                <c:pt idx="2">
                  <c:v>66.605015002143148</c:v>
                </c:pt>
                <c:pt idx="3">
                  <c:v>110.40501500214316</c:v>
                </c:pt>
                <c:pt idx="4">
                  <c:v>162.96501500214316</c:v>
                </c:pt>
                <c:pt idx="5">
                  <c:v>197.60501500214315</c:v>
                </c:pt>
                <c:pt idx="6">
                  <c:v>197.60501500214315</c:v>
                </c:pt>
                <c:pt idx="7">
                  <c:v>197.60501500214315</c:v>
                </c:pt>
                <c:pt idx="8">
                  <c:v>217.60501500214315</c:v>
                </c:pt>
                <c:pt idx="9">
                  <c:v>207.60501500214315</c:v>
                </c:pt>
                <c:pt idx="10">
                  <c:v>227.60501500214315</c:v>
                </c:pt>
                <c:pt idx="11">
                  <c:v>247.60501500214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3BC6-4016-9B68-69D618D53944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3BC6-4016-9B68-69D618D53944}"/>
              </c:ext>
            </c:extLst>
          </c:dPt>
          <c:dPt>
            <c:idx val="1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3BC6-4016-9B68-69D618D53944}"/>
              </c:ext>
            </c:extLst>
          </c:dPt>
          <c:dPt>
            <c:idx val="2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3BC6-4016-9B68-69D618D53944}"/>
              </c:ext>
            </c:extLst>
          </c:dPt>
          <c:dPt>
            <c:idx val="3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3BC6-4016-9B68-69D618D53944}"/>
              </c:ext>
            </c:extLst>
          </c:dPt>
          <c:dPt>
            <c:idx val="4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3BC6-4016-9B68-69D618D53944}"/>
              </c:ext>
            </c:extLst>
          </c:dPt>
          <c:dPt>
            <c:idx val="5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3BC6-4016-9B68-69D618D53944}"/>
              </c:ext>
            </c:extLst>
          </c:dPt>
          <c:dPt>
            <c:idx val="6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3BC6-4016-9B68-69D618D53944}"/>
              </c:ext>
            </c:extLst>
          </c:dPt>
          <c:dPt>
            <c:idx val="7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3BC6-4016-9B68-69D618D53944}"/>
              </c:ext>
            </c:extLst>
          </c:dPt>
          <c:dPt>
            <c:idx val="8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3BC6-4016-9B68-69D618D53944}"/>
              </c:ext>
            </c:extLst>
          </c:dPt>
          <c:dPt>
            <c:idx val="9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3BC6-4016-9B68-69D618D53944}"/>
              </c:ext>
            </c:extLst>
          </c:dPt>
          <c:dPt>
            <c:idx val="10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3BC6-4016-9B68-69D618D53944}"/>
              </c:ext>
            </c:extLst>
          </c:dPt>
          <c:dPt>
            <c:idx val="11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3BC6-4016-9B68-69D618D53944}"/>
              </c:ext>
            </c:extLst>
          </c:dPt>
          <c:val>
            <c:numRef>
              <c:f>Sheet1!$A$4:$L$4</c:f>
              <c:numCache>
                <c:formatCode>General</c:formatCode>
                <c:ptCount val="12"/>
                <c:pt idx="0">
                  <c:v>27.105015002143148</c:v>
                </c:pt>
                <c:pt idx="1">
                  <c:v>22.605015002143148</c:v>
                </c:pt>
                <c:pt idx="2">
                  <c:v>57.605015002143148</c:v>
                </c:pt>
                <c:pt idx="3">
                  <c:v>99.605015002143148</c:v>
                </c:pt>
                <c:pt idx="4">
                  <c:v>150.00501500214313</c:v>
                </c:pt>
                <c:pt idx="5">
                  <c:v>181.60501500214315</c:v>
                </c:pt>
                <c:pt idx="6">
                  <c:v>181.60501500214315</c:v>
                </c:pt>
                <c:pt idx="7">
                  <c:v>185.10501500214315</c:v>
                </c:pt>
                <c:pt idx="8">
                  <c:v>197.60501500214315</c:v>
                </c:pt>
                <c:pt idx="9">
                  <c:v>194.60501500214315</c:v>
                </c:pt>
                <c:pt idx="10">
                  <c:v>207.60501500214315</c:v>
                </c:pt>
                <c:pt idx="11">
                  <c:v>224.655015002143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3BC6-4016-9B68-69D618D53944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none"/>
          </c:marker>
          <c:val>
            <c:numRef>
              <c:f>Sheet1!$A$5:$L$5</c:f>
              <c:numCache>
                <c:formatCode>General</c:formatCode>
                <c:ptCount val="12"/>
                <c:pt idx="0">
                  <c:v>16.605015002143148</c:v>
                </c:pt>
                <c:pt idx="1">
                  <c:v>15.105015002143148</c:v>
                </c:pt>
                <c:pt idx="2">
                  <c:v>48.605015002143148</c:v>
                </c:pt>
                <c:pt idx="3">
                  <c:v>88.805015002143136</c:v>
                </c:pt>
                <c:pt idx="4">
                  <c:v>137.04501500214315</c:v>
                </c:pt>
                <c:pt idx="5">
                  <c:v>165.60501500214315</c:v>
                </c:pt>
                <c:pt idx="6">
                  <c:v>165.60501500214315</c:v>
                </c:pt>
                <c:pt idx="7">
                  <c:v>172.60501500214315</c:v>
                </c:pt>
                <c:pt idx="8">
                  <c:v>177.60501500214315</c:v>
                </c:pt>
                <c:pt idx="9">
                  <c:v>181.60501500214315</c:v>
                </c:pt>
                <c:pt idx="10">
                  <c:v>187.60501500214315</c:v>
                </c:pt>
                <c:pt idx="11">
                  <c:v>201.705015002143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3BC6-4016-9B68-69D618D53944}"/>
            </c:ext>
          </c:extLst>
        </c:ser>
        <c:ser>
          <c:idx val="4"/>
          <c:order val="4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3BC6-4016-9B68-69D618D53944}"/>
              </c:ext>
            </c:extLst>
          </c:dPt>
          <c:dPt>
            <c:idx val="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3BC6-4016-9B68-69D618D53944}"/>
              </c:ext>
            </c:extLst>
          </c:dPt>
          <c:dPt>
            <c:idx val="2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3BC6-4016-9B68-69D618D53944}"/>
              </c:ext>
            </c:extLst>
          </c:dPt>
          <c:dPt>
            <c:idx val="3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3BC6-4016-9B68-69D618D53944}"/>
              </c:ext>
            </c:extLst>
          </c:dPt>
          <c:dPt>
            <c:idx val="4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3BC6-4016-9B68-69D618D53944}"/>
              </c:ext>
            </c:extLst>
          </c:dPt>
          <c:dPt>
            <c:idx val="5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3BC6-4016-9B68-69D618D53944}"/>
              </c:ext>
            </c:extLst>
          </c:dPt>
          <c:dPt>
            <c:idx val="6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3BC6-4016-9B68-69D618D53944}"/>
              </c:ext>
            </c:extLst>
          </c:dPt>
          <c:dPt>
            <c:idx val="7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3BC6-4016-9B68-69D618D53944}"/>
              </c:ext>
            </c:extLst>
          </c:dPt>
          <c:dPt>
            <c:idx val="8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3BC6-4016-9B68-69D618D53944}"/>
              </c:ext>
            </c:extLst>
          </c:dPt>
          <c:dPt>
            <c:idx val="9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3BC6-4016-9B68-69D618D53944}"/>
              </c:ext>
            </c:extLst>
          </c:dPt>
          <c:dPt>
            <c:idx val="1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3BC6-4016-9B68-69D618D53944}"/>
              </c:ext>
            </c:extLst>
          </c:dPt>
          <c:dPt>
            <c:idx val="1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3BC6-4016-9B68-69D618D53944}"/>
              </c:ext>
            </c:extLst>
          </c:dPt>
          <c:errBars>
            <c:errDir val="y"/>
            <c:errBarType val="plus"/>
            <c:errValType val="cust"/>
            <c:noEndCap val="1"/>
            <c:plus>
              <c:numRef>
                <c:f>Sheet1!$A$6:$L$6</c:f>
                <c:numCache>
                  <c:formatCode>General</c:formatCode>
                  <c:ptCount val="12"/>
                  <c:pt idx="0">
                    <c:v>42.5</c:v>
                  </c:pt>
                  <c:pt idx="1">
                    <c:v>27.5</c:v>
                  </c:pt>
                  <c:pt idx="2">
                    <c:v>33</c:v>
                  </c:pt>
                  <c:pt idx="3">
                    <c:v>39.599999999999966</c:v>
                  </c:pt>
                  <c:pt idx="4">
                    <c:v>47.519999999999925</c:v>
                  </c:pt>
                  <c:pt idx="5">
                    <c:v>70</c:v>
                  </c:pt>
                  <c:pt idx="6">
                    <c:v>70</c:v>
                  </c:pt>
                  <c:pt idx="7">
                    <c:v>40</c:v>
                  </c:pt>
                  <c:pt idx="8">
                    <c:v>83.199999999999989</c:v>
                  </c:pt>
                  <c:pt idx="9">
                    <c:v>50</c:v>
                  </c:pt>
                  <c:pt idx="10">
                    <c:v>80</c:v>
                  </c:pt>
                  <c:pt idx="11">
                    <c:v>84.800000000000011</c:v>
                  </c:pt>
                </c:numCache>
              </c:numRef>
            </c:plus>
            <c:spPr>
              <a:ln w="9525" cmpd="sng" algn="ctr">
                <a:solidFill>
                  <a:schemeClr val="tx1"/>
                </a:solidFill>
                <a:prstDash val="solid"/>
              </a:ln>
            </c:spPr>
          </c:errBars>
          <c:val>
            <c:numRef>
              <c:f>Sheet1!$A$7:$L$7</c:f>
              <c:numCache>
                <c:formatCode>General</c:formatCode>
                <c:ptCount val="12"/>
                <c:pt idx="0">
                  <c:v>10.105015002143148</c:v>
                </c:pt>
                <c:pt idx="1">
                  <c:v>10.105015002143148</c:v>
                </c:pt>
                <c:pt idx="2">
                  <c:v>42.605015002143148</c:v>
                </c:pt>
                <c:pt idx="3">
                  <c:v>81.605015002143148</c:v>
                </c:pt>
                <c:pt idx="4">
                  <c:v>128.40501500214316</c:v>
                </c:pt>
                <c:pt idx="5">
                  <c:v>157.60501500214315</c:v>
                </c:pt>
                <c:pt idx="6">
                  <c:v>152.60501500214315</c:v>
                </c:pt>
                <c:pt idx="7">
                  <c:v>167.60501500214315</c:v>
                </c:pt>
                <c:pt idx="8">
                  <c:v>164.40501500214316</c:v>
                </c:pt>
                <c:pt idx="9">
                  <c:v>172.60501500214315</c:v>
                </c:pt>
                <c:pt idx="10">
                  <c:v>177.60501500214315</c:v>
                </c:pt>
                <c:pt idx="11">
                  <c:v>182.80501500214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8-3BC6-4016-9B68-69D618D539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88127551"/>
        <c:axId val="1"/>
      </c:lineChart>
      <c:catAx>
        <c:axId val="9881275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97.6050150021431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9881275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1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15.xml.rels>&#65279;<?xml version="1.0" encoding="utf-8"?><Relationships xmlns="http://schemas.openxmlformats.org/package/2006/relationships"><Relationship Type="http://schemas.openxmlformats.org/officeDocument/2006/relationships/slide" Target="/ppt/slides/slide215.xml" Id="rId2" /><Relationship Type="http://schemas.openxmlformats.org/officeDocument/2006/relationships/notesMaster" Target="/ppt/notesMasters/notesMaster1.xml" Id="rId1" /></Relationships>
</file>

<file path=ppt/notesSlides/notesSlide2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87570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15.xml.rels>&#65279;<?xml version="1.0" encoding="utf-8"?><Relationships xmlns="http://schemas.openxmlformats.org/package/2006/relationships"><Relationship Type="http://schemas.openxmlformats.org/officeDocument/2006/relationships/tags" Target="/ppt/tags/tag1414.xml" Id="rId13" /><Relationship Type="http://schemas.openxmlformats.org/officeDocument/2006/relationships/tags" Target="/ppt/tags/tag1419.xml" Id="rId18" /><Relationship Type="http://schemas.openxmlformats.org/officeDocument/2006/relationships/tags" Target="/ppt/tags/tag1427.xml" Id="rId26" /><Relationship Type="http://schemas.openxmlformats.org/officeDocument/2006/relationships/tags" Target="/ppt/tags/tag1404.xml" Id="rId3" /><Relationship Type="http://schemas.openxmlformats.org/officeDocument/2006/relationships/tags" Target="/ppt/tags/tag1422.xml" Id="rId21" /><Relationship Type="http://schemas.openxmlformats.org/officeDocument/2006/relationships/oleObject" Target="/ppt/embeddings/oleObject219.bin" Id="rId34" /><Relationship Type="http://schemas.openxmlformats.org/officeDocument/2006/relationships/tags" Target="/ppt/tags/tag1408.xml" Id="rId7" /><Relationship Type="http://schemas.openxmlformats.org/officeDocument/2006/relationships/tags" Target="/ppt/tags/tag1413.xml" Id="rId12" /><Relationship Type="http://schemas.openxmlformats.org/officeDocument/2006/relationships/tags" Target="/ppt/tags/tag1418.xml" Id="rId17" /><Relationship Type="http://schemas.openxmlformats.org/officeDocument/2006/relationships/tags" Target="/ppt/tags/tag1426.xml" Id="rId25" /><Relationship Type="http://schemas.openxmlformats.org/officeDocument/2006/relationships/notesSlide" Target="/ppt/notesSlides/notesSlide215.xml" Id="rId33" /><Relationship Type="http://schemas.openxmlformats.org/officeDocument/2006/relationships/tags" Target="/ppt/tags/tag1403.xml" Id="rId2" /><Relationship Type="http://schemas.openxmlformats.org/officeDocument/2006/relationships/tags" Target="/ppt/tags/tag1417.xml" Id="rId16" /><Relationship Type="http://schemas.openxmlformats.org/officeDocument/2006/relationships/tags" Target="/ppt/tags/tag1421.xml" Id="rId20" /><Relationship Type="http://schemas.openxmlformats.org/officeDocument/2006/relationships/tags" Target="/ppt/tags/tag1430.xml" Id="rId29" /><Relationship Type="http://schemas.openxmlformats.org/officeDocument/2006/relationships/vmlDrawing" Target="/ppt/drawings/vmlDrawing219.vml" Id="rId1" /><Relationship Type="http://schemas.openxmlformats.org/officeDocument/2006/relationships/tags" Target="/ppt/tags/tag1407.xml" Id="rId6" /><Relationship Type="http://schemas.openxmlformats.org/officeDocument/2006/relationships/tags" Target="/ppt/tags/tag1412.xml" Id="rId11" /><Relationship Type="http://schemas.openxmlformats.org/officeDocument/2006/relationships/tags" Target="/ppt/tags/tag1425.xml" Id="rId24" /><Relationship Type="http://schemas.openxmlformats.org/officeDocument/2006/relationships/slideLayout" Target="/ppt/slideLayouts/slideLayout5.xml" Id="rId32" /><Relationship Type="http://schemas.openxmlformats.org/officeDocument/2006/relationships/tags" Target="/ppt/tags/tag1406.xml" Id="rId5" /><Relationship Type="http://schemas.openxmlformats.org/officeDocument/2006/relationships/tags" Target="/ppt/tags/tag1416.xml" Id="rId15" /><Relationship Type="http://schemas.openxmlformats.org/officeDocument/2006/relationships/tags" Target="/ppt/tags/tag1424.xml" Id="rId23" /><Relationship Type="http://schemas.openxmlformats.org/officeDocument/2006/relationships/tags" Target="/ppt/tags/tag1429.xml" Id="rId28" /><Relationship Type="http://schemas.openxmlformats.org/officeDocument/2006/relationships/chart" Target="/ppt/charts/chart52.xml" Id="rId36" /><Relationship Type="http://schemas.openxmlformats.org/officeDocument/2006/relationships/tags" Target="/ppt/tags/tag1411.xml" Id="rId10" /><Relationship Type="http://schemas.openxmlformats.org/officeDocument/2006/relationships/tags" Target="/ppt/tags/tag1420.xml" Id="rId19" /><Relationship Type="http://schemas.openxmlformats.org/officeDocument/2006/relationships/tags" Target="/ppt/tags/tag1432.xml" Id="rId31" /><Relationship Type="http://schemas.openxmlformats.org/officeDocument/2006/relationships/tags" Target="/ppt/tags/tag1405.xml" Id="rId4" /><Relationship Type="http://schemas.openxmlformats.org/officeDocument/2006/relationships/tags" Target="/ppt/tags/tag1410.xml" Id="rId9" /><Relationship Type="http://schemas.openxmlformats.org/officeDocument/2006/relationships/tags" Target="/ppt/tags/tag1415.xml" Id="rId14" /><Relationship Type="http://schemas.openxmlformats.org/officeDocument/2006/relationships/tags" Target="/ppt/tags/tag1423.xml" Id="rId22" /><Relationship Type="http://schemas.openxmlformats.org/officeDocument/2006/relationships/tags" Target="/ppt/tags/tag1428.xml" Id="rId27" /><Relationship Type="http://schemas.openxmlformats.org/officeDocument/2006/relationships/tags" Target="/ppt/tags/tag1431.xml" Id="rId30" /><Relationship Type="http://schemas.openxmlformats.org/officeDocument/2006/relationships/image" Target="/ppt/media/image4.emf" Id="rId35" /><Relationship Type="http://schemas.openxmlformats.org/officeDocument/2006/relationships/tags" Target="/ppt/tags/tag1409.xml" Id="rId8" /></Relationships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083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5" name="think-cell 幻灯片" r:id="rId34" imgW="349" imgH="350" progId="TCLayout.ActiveDocument.1">
                  <p:embed/>
                </p:oleObj>
              </mc:Choice>
              <mc:Fallback>
                <p:oleObj name="think-cell 幻灯片" r:id="rId3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Time series: Candlestick, stock price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29DB2F0B-807C-3BFF-C602-8E3F51B2F8C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4037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line, error bar, candlesticks, candle, think-cell, chart, charts, graph, graphs, comment</a:t>
            </a:r>
          </a:p>
        </p:txBody>
      </p:sp>
      <p:sp>
        <p:nvSpPr>
          <p:cNvPr id="18" name="Rechteck 137">
            <a:extLst>
              <a:ext uri="{FF2B5EF4-FFF2-40B4-BE49-F238E27FC236}">
                <a16:creationId xmlns:a16="http://schemas.microsoft.com/office/drawing/2014/main" id="{08CAEA16-DD6E-611B-01F6-430198733330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19" name="tc_columnheader">
            <a:extLst>
              <a:ext uri="{FF2B5EF4-FFF2-40B4-BE49-F238E27FC236}">
                <a16:creationId xmlns:a16="http://schemas.microsoft.com/office/drawing/2014/main" id="{88296D28-85D0-40E4-0FA4-40BE96908756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20" name="tc_columnhead">
              <a:extLst>
                <a:ext uri="{FF2B5EF4-FFF2-40B4-BE49-F238E27FC236}">
                  <a16:creationId xmlns:a16="http://schemas.microsoft.com/office/drawing/2014/main" id="{5652FEBD-8EDB-85B4-F1AA-FB0E75DFBF7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21" name="tc_columnheadline">
              <a:extLst>
                <a:ext uri="{FF2B5EF4-FFF2-40B4-BE49-F238E27FC236}">
                  <a16:creationId xmlns:a16="http://schemas.microsoft.com/office/drawing/2014/main" id="{C5BAA1F2-C084-695D-E303-FA6FBA9A04E4}"/>
                </a:ext>
              </a:extLst>
            </p:cNvPr>
            <p:cNvCxnSpPr>
              <a:cxnSpLocks/>
              <a:stCxn id="20" idx="4"/>
              <a:endCxn id="2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tc_columnheader">
            <a:extLst>
              <a:ext uri="{FF2B5EF4-FFF2-40B4-BE49-F238E27FC236}">
                <a16:creationId xmlns:a16="http://schemas.microsoft.com/office/drawing/2014/main" id="{A49FE862-ABA7-8DCD-EDCC-FEEECE1E63A4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23" name="tc_columnhead">
              <a:extLst>
                <a:ext uri="{FF2B5EF4-FFF2-40B4-BE49-F238E27FC236}">
                  <a16:creationId xmlns:a16="http://schemas.microsoft.com/office/drawing/2014/main" id="{B568D603-8285-A1AA-5848-86DB9AED0F7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24" name="tc_columnheadline">
              <a:extLst>
                <a:ext uri="{FF2B5EF4-FFF2-40B4-BE49-F238E27FC236}">
                  <a16:creationId xmlns:a16="http://schemas.microsoft.com/office/drawing/2014/main" id="{9CF6B69A-AF1B-FAFF-AC27-486A01ACA84B}"/>
                </a:ext>
              </a:extLst>
            </p:cNvPr>
            <p:cNvCxnSpPr>
              <a:cxnSpLocks/>
              <a:stCxn id="23" idx="4"/>
              <a:endCxn id="2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10F01A7-9440-C6D3-851D-BBF1054945B6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835025" y="5181600"/>
            <a:ext cx="73183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7055F6F-2EC6-CE67-BEAA-840D17BF82B2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835025" y="4537075"/>
            <a:ext cx="73183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0008998-AF7C-5CBE-B416-DDC7D872884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835025" y="3892550"/>
            <a:ext cx="73183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2A2F3AA-0A6C-F973-3A2B-FF21286D2FD3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835025" y="3248025"/>
            <a:ext cx="73183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211170-A867-DD4B-443C-7A90E9422593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835025" y="2605088"/>
            <a:ext cx="73183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4BE361D-9C29-14DC-D9C7-E2AF017ECC9F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835025" y="1960563"/>
            <a:ext cx="73183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4" name="Chart 3">
            <a:extLst>
              <a:ext uri="{FF2B5EF4-FFF2-40B4-BE49-F238E27FC236}">
                <a16:creationId xmlns:a16="http://schemas.microsoft.com/office/drawing/2014/main" id="{F316CE3B-4929-4D3E-9D1E-CA26FA572CC9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3157357"/>
              </p:ext>
            </p:extLst>
          </p:nvPr>
        </p:nvGraphicFramePr>
        <p:xfrm>
          <a:off x="752475" y="1878013"/>
          <a:ext cx="7483475" cy="3998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6DC532B-CA45-EF6D-F320-4BE1E664B2F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01662" y="5688013"/>
            <a:ext cx="115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FD4C5CB-5859-4D8A-870C-44BB237D068F}" type="datetime'''''''''''''0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74649" y="5075238"/>
            <a:ext cx="342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24AF6C3-D676-44D5-8FD7-09C3D50DFBDE}" type="datetime'''''''''''''''''''''''''2''''''''''''''''''0''''''0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77825" y="4430713"/>
            <a:ext cx="339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A42ED0D-A7ED-47FB-A455-9ADDF176FE45}" type="datetime'''''''''''2''''''''''''''''''''5''''''''0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76238" y="3786188"/>
            <a:ext cx="3413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184820B-C0D2-46B7-A418-CC0BB3E37326}" type="datetime'''''''''30''''''''''''''''''''''''''''''''''''''''''0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79412" y="3141663"/>
            <a:ext cx="338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7B1593-07DE-4A13-9DDB-B95890C0A757}" type="datetime'''''''''3''5''''0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71475" y="2498725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6431A97-53C4-4F48-A704-4B10EA2C8832}" type="datetime'''''''''''''''''4''''''0''''''0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74649" y="1854200"/>
            <a:ext cx="342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5A0FFD7-7175-4418-A343-29242B7C99C5}" type="datetime'''''''''''''''''''''4''5''0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 useBgFill="1">
        <p:nvSpPr>
          <p:cNvPr id="9" name="任意多边形: 形状 8">
            <a:extLst>
              <a:ext uri="{FF2B5EF4-FFF2-40B4-BE49-F238E27FC236}">
                <a16:creationId xmlns:a16="http://schemas.microsoft.com/office/drawing/2014/main" id="{25C8854E-1043-4B38-B9C0-CB49C7C0E52B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762000" y="5681663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1F76A8C5-3526-4008-ADD0-C94670E52994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62000" y="5681663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AE85CABF-0E82-4DE5-8E74-47D2D0AB109A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762000" y="5738813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DEB7223-CA87-01B2-E5A3-786F9CBCC3D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77900" y="5853113"/>
            <a:ext cx="325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8CB265-84BA-42F9-B4FF-9E1E7C53697F}" type="datetime'J''''''''a''''''''''''''''''''''''n''''''''''''''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A986984-3998-9CEF-D741-83CF04BB72E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581150" y="5853113"/>
            <a:ext cx="338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50A6ED8-241D-4F66-8BB0-CD0577B8F2DA}" type="datetime'''F''''''''''''''''''''''''''e''''''''''''''''''''b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D3CCD6D9-EA9B-397B-2B74-85A3C70275E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184400" y="5853113"/>
            <a:ext cx="349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26E562-5570-4F6C-BED5-60F0220665B2}" type="datetime'''''M''''''''''''ar''''''''''''''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56129F2A-BB3F-A39F-5604-8F64F1BAB39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811462" y="5853113"/>
            <a:ext cx="317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835695-780D-4B52-A8F4-8A255F8E9993}" type="datetime'''''''''''A''''''''p''''''''''''r''''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7A1FACB-8F64-F3F4-60EC-467A974242E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392487" y="5853113"/>
            <a:ext cx="376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0BDCB07-9A97-46DA-9CC2-27B4F3E60846}" type="datetime'''''''''''''''''''''''''''''M''''a''''''y''''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7916C7AE-F4F3-4EF6-17DE-14875473A55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029075" y="5853113"/>
            <a:ext cx="322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76384BC-37E5-4ADE-85AA-348BBA424A49}" type="datetime'''''''''''''''''J''''''''u''n''''''''''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296E7FC1-4DB8-A351-1AFB-B26C98C464C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667250" y="5853113"/>
            <a:ext cx="2651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DB10CD-5BBB-430B-8130-2F728601FCAF}" type="datetime'''''''J''''''''''''''''''''u''''''''''''l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289DFF4B-8121-DE59-8D73-5FA74D65D19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230812" y="5853113"/>
            <a:ext cx="355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BE0D03D-0967-41B0-9D7F-165A908ACCB6}" type="datetime'''''''A''''''''''''''''''''''u''''''g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46B61276-622E-4416-185F-CEFB89D0F9C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846762" y="5853113"/>
            <a:ext cx="342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C9C30F-B0AA-4D28-BED2-4B596246D56F}" type="datetime'''''''S''''''''''''''''''''''''''''''''ep''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138D4981-EFD9-D31B-9C1B-C44FAFA711C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467474" y="5853113"/>
            <a:ext cx="323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2341E1-47CC-4AE1-ADC1-A86F6B55B43A}" type="datetime'''''''O''''''c''''''''t''''''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76D0D2C-9082-029F-8851-804D626C31F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064374" y="5853113"/>
            <a:ext cx="350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635E94-FD08-49F3-9B11-5CF618D1BBF9}" type="datetime'''''No''''''''''''''''v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1FD817A2-F37B-4253-47EB-C635875FDE3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672388" y="5853113"/>
            <a:ext cx="3540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8541F9-2155-4DE5-ABED-79A5D3299838}" type="datetime'''''''''''D''e''''''''''''''''''''''''''''''''''c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59F156-EB9B-CB5F-9CC0-CD17BB29EFFD}"/>
              </a:ext>
            </a:extLst>
          </p:cNvPr>
          <p:cNvSpPr>
            <a:spLocks/>
          </p:cNvSpPr>
          <p:nvPr/>
        </p:nvSpPr>
        <p:spPr>
          <a:xfrm>
            <a:off x="8811108" y="-3206650"/>
            <a:ext cx="4575600" cy="3766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line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  <a:endParaRPr lang="en-US" sz="1200" u="sng">
              <a:solidFill>
                <a:schemeClr val="tx1"/>
              </a:solidFill>
              <a:cs typeface="Arial"/>
            </a:endParaRPr>
          </a:p>
          <a:p>
            <a:r>
              <a:rPr lang="en-US" sz="1200">
                <a:solidFill>
                  <a:schemeClr val="tx1"/>
                </a:solidFill>
                <a:cs typeface="Arial"/>
              </a:rPr>
              <a:t>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create a candlestick chart</a:t>
            </a:r>
            <a:r>
              <a:rPr lang="en-US" sz="1200">
                <a:solidFill>
                  <a:schemeClr val="tx1"/>
                </a:solidFill>
                <a:cs typeface="Arial"/>
              </a:rPr>
              <a:t>, first insert a line chart.</a:t>
            </a:r>
          </a:p>
          <a:p>
            <a:r>
              <a:rPr lang="en-US" sz="1200">
                <a:solidFill>
                  <a:schemeClr val="tx1"/>
                </a:solidFill>
                <a:cs typeface="Arial"/>
              </a:rPr>
              <a:t>Next, to 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create boxes</a:t>
            </a:r>
            <a:r>
              <a:rPr lang="en-US" sz="1200">
                <a:solidFill>
                  <a:schemeClr val="tx1"/>
                </a:solidFill>
                <a:cs typeface="Arial"/>
              </a:rPr>
              <a:t>, follow these steps: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chart's datasheet, enter a series representing the upper quartile and a series representing the lower quartile.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chart, select both series' lines. Right-click a line to open the context menu. Select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Add Error Bars</a:t>
            </a:r>
            <a:r>
              <a:rPr lang="en-US" sz="1200">
                <a:solidFill>
                  <a:schemeClr val="tx1"/>
                </a:solidFill>
                <a:cs typeface="Arial"/>
              </a:rPr>
              <a:t>.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Click the bars to open the mini toolbar. Adjust the thickness and color of the bars.</a:t>
            </a:r>
          </a:p>
          <a:p>
            <a:r>
              <a:rPr lang="en-US" sz="1200">
                <a:solidFill>
                  <a:schemeClr val="tx1"/>
                </a:solidFill>
                <a:cs typeface="Arial"/>
              </a:rPr>
              <a:t>Next, 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create whiskers</a:t>
            </a:r>
            <a:r>
              <a:rPr lang="en-US" sz="1200">
                <a:solidFill>
                  <a:schemeClr val="tx1"/>
                </a:solidFill>
                <a:cs typeface="Arial"/>
              </a:rPr>
              <a:t>, follow these steps: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datasheet, enter a series representing the max. values and a series representing the min. values.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Create another set of error bars from these series.</a:t>
            </a:r>
            <a:endParaRPr lang="en-US">
              <a:solidFill>
                <a:schemeClr val="tx1"/>
              </a:solidFill>
            </a:endParaRP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error bars' mini toolbar, in the marker style menu, select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Long Bar</a:t>
            </a:r>
            <a:r>
              <a:rPr lang="en-US" sz="1200">
                <a:solidFill>
                  <a:schemeClr val="tx1"/>
                </a:solidFill>
                <a:cs typeface="Arial"/>
              </a:rPr>
              <a:t>.</a:t>
            </a:r>
          </a:p>
          <a:p>
            <a:r>
              <a:rPr lang="en-US" sz="1200">
                <a:solidFill>
                  <a:schemeClr val="tx1"/>
                </a:solidFill>
                <a:cs typeface="Arial"/>
              </a:rPr>
              <a:t>Finally, 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create median markers</a:t>
            </a:r>
            <a:r>
              <a:rPr lang="en-US" sz="1200">
                <a:solidFill>
                  <a:schemeClr val="tx1"/>
                </a:solidFill>
                <a:cs typeface="Arial"/>
              </a:rPr>
              <a:t>, follow these steps:</a:t>
            </a:r>
          </a:p>
          <a:p>
            <a:pPr marL="171450" indent="-171450">
              <a:buFont typeface="Arial,Sans-Serif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datasheet, enter a series representing the marker values.</a:t>
            </a:r>
          </a:p>
          <a:p>
            <a:pPr marL="171450" indent="-171450">
              <a:buFont typeface="Arial,Sans-Serif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chart, click the series line to open the mini toolbar. Select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No Line</a:t>
            </a:r>
            <a:r>
              <a:rPr lang="en-US" sz="1200">
                <a:solidFill>
                  <a:schemeClr val="tx1"/>
                </a:solidFill>
                <a:cs typeface="Arial"/>
              </a:rPr>
              <a:t>. Add markers, and style as desired.</a:t>
            </a:r>
          </a:p>
        </p:txBody>
      </p:sp>
    </p:spTree>
    <p:extLst>
      <p:ext uri="{BB962C8B-B14F-4D97-AF65-F5344CB8AC3E}">
        <p14:creationId xmlns:p14="http://schemas.microsoft.com/office/powerpoint/2010/main" val="3100196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nKNF5Z8A.vVG.6f3O1Tw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03_ZuNFQGMADdGGYmyqQ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qOLNFQGMYOqD6igjuzTw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JrwQaDJT87dnucOEmi0g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jrjbxXgnF_5NqFUpASw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rCrQOWYA0BcG5X7RlFPg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fdH4.2.JnTV.yy7_yKcQ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_wxbRAdTyPsEZFZWWQbQ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Erab4XSIeL22P79pLcqw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18tBpidJpI.x4X6J.03g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LrRaa6dgSKmLt9GRUtpg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XtA7KInJI3zItxI3i0hQ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GaONTvKVA3uEIQHcxobw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9vfminZtDJrzyCZGwuQ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LwJ4.GHlXszieciLhqlQ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2vBggjtiDk4t1JzfoDwQ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92dG4b8TYaDtpPp5ZjbQ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T42K6bHrTTn6GnjFGaYw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oRTGD0k.gVI_95Vf19lg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ndASvZZ8pJ_HpewMgSpg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h.9KsEDpkYoqJKUZadIg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IZYkQXMdp3vwtY5500wg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QK6ZRKT5t_stKksa5_7g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w1OgNeXgHGXRkFSrfsog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41uHPeE4MuPXvrSyIqcQ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f5hoX0M0ZYUpjOXXe0ig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bvSKB6wK9PQcmYXlzY0A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4KBSZiLKcMtsItA.ht7Q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hDm.i9oVf1p3zXLoHd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